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9" r:id="rId1"/>
    <p:sldMasterId id="2147483787" r:id="rId2"/>
  </p:sldMasterIdLst>
  <p:notesMasterIdLst>
    <p:notesMasterId r:id="rId14"/>
  </p:notesMasterIdLst>
  <p:sldIdLst>
    <p:sldId id="257" r:id="rId3"/>
    <p:sldId id="304" r:id="rId4"/>
    <p:sldId id="369" r:id="rId5"/>
    <p:sldId id="370" r:id="rId6"/>
    <p:sldId id="372" r:id="rId7"/>
    <p:sldId id="380" r:id="rId8"/>
    <p:sldId id="381" r:id="rId9"/>
    <p:sldId id="374" r:id="rId10"/>
    <p:sldId id="375" r:id="rId11"/>
    <p:sldId id="378" r:id="rId12"/>
    <p:sldId id="367" r:id="rId1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4379"/>
    <a:srgbClr val="DEEB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69" autoAdjust="0"/>
    <p:restoredTop sz="96433" autoAdjust="0"/>
  </p:normalViewPr>
  <p:slideViewPr>
    <p:cSldViewPr snapToGrid="0">
      <p:cViewPr varScale="1">
        <p:scale>
          <a:sx n="113" d="100"/>
          <a:sy n="113" d="100"/>
        </p:scale>
        <p:origin x="600" y="-1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8.4459494914645064E-2"/>
          <c:y val="2.1275217413869955E-2"/>
          <c:w val="0.9074735814560041"/>
          <c:h val="0.772794481432791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икие животные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9.34915524493132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7.011866433698560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1.16864440561642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0"/>
                  <c:y val="4.67457762246564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0"/>
                  <c:y val="1.16864440561642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"/>
                  <c:y val="9.34915524493132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6</c:f>
              <c:strCache>
                <c:ptCount val="35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  <c:pt idx="30">
                  <c:v>2019</c:v>
                </c:pt>
                <c:pt idx="31">
                  <c:v>2020</c:v>
                </c:pt>
                <c:pt idx="32">
                  <c:v>2021</c:v>
                </c:pt>
                <c:pt idx="33">
                  <c:v>2022</c:v>
                </c:pt>
                <c:pt idx="34">
                  <c:v>на 1 сентября 2023</c:v>
                </c:pt>
              </c:strCache>
            </c:strRef>
          </c:cat>
          <c:val>
            <c:numRef>
              <c:f>Лист1!$B$2:$B$36</c:f>
              <c:numCache>
                <c:formatCode>General</c:formatCode>
                <c:ptCount val="35"/>
                <c:pt idx="0">
                  <c:v>43</c:v>
                </c:pt>
                <c:pt idx="1">
                  <c:v>110</c:v>
                </c:pt>
                <c:pt idx="2">
                  <c:v>51</c:v>
                </c:pt>
                <c:pt idx="3">
                  <c:v>0</c:v>
                </c:pt>
                <c:pt idx="4">
                  <c:v>59</c:v>
                </c:pt>
                <c:pt idx="5">
                  <c:v>13</c:v>
                </c:pt>
                <c:pt idx="6">
                  <c:v>10</c:v>
                </c:pt>
                <c:pt idx="7">
                  <c:v>85</c:v>
                </c:pt>
                <c:pt idx="8">
                  <c:v>44</c:v>
                </c:pt>
                <c:pt idx="9">
                  <c:v>53</c:v>
                </c:pt>
                <c:pt idx="10">
                  <c:v>60</c:v>
                </c:pt>
                <c:pt idx="11">
                  <c:v>203</c:v>
                </c:pt>
                <c:pt idx="12">
                  <c:v>373</c:v>
                </c:pt>
                <c:pt idx="13">
                  <c:v>580</c:v>
                </c:pt>
                <c:pt idx="14">
                  <c:v>761</c:v>
                </c:pt>
                <c:pt idx="15">
                  <c:v>135</c:v>
                </c:pt>
                <c:pt idx="16">
                  <c:v>442</c:v>
                </c:pt>
                <c:pt idx="17">
                  <c:v>1136</c:v>
                </c:pt>
                <c:pt idx="18">
                  <c:v>603</c:v>
                </c:pt>
                <c:pt idx="19">
                  <c:v>735</c:v>
                </c:pt>
                <c:pt idx="20">
                  <c:v>620</c:v>
                </c:pt>
                <c:pt idx="21">
                  <c:v>630</c:v>
                </c:pt>
                <c:pt idx="22">
                  <c:v>847</c:v>
                </c:pt>
                <c:pt idx="23">
                  <c:v>290</c:v>
                </c:pt>
                <c:pt idx="24">
                  <c:v>288</c:v>
                </c:pt>
                <c:pt idx="25">
                  <c:v>161</c:v>
                </c:pt>
                <c:pt idx="26">
                  <c:v>367</c:v>
                </c:pt>
                <c:pt idx="27">
                  <c:v>259</c:v>
                </c:pt>
                <c:pt idx="28">
                  <c:v>623</c:v>
                </c:pt>
                <c:pt idx="29">
                  <c:v>839</c:v>
                </c:pt>
                <c:pt idx="30">
                  <c:v>380</c:v>
                </c:pt>
                <c:pt idx="31">
                  <c:v>440</c:v>
                </c:pt>
                <c:pt idx="32">
                  <c:v>205</c:v>
                </c:pt>
                <c:pt idx="33">
                  <c:v>164</c:v>
                </c:pt>
                <c:pt idx="34">
                  <c:v>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DFD-4307-B91A-D97CF9437C1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машние и сельскохозяйственные животные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0"/>
                  <c:y val="-2.10355993010954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2.337288811232828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9089811617366724E-17"/>
                  <c:y val="-1.16864440561641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1.8698310489862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-1.63610216786300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0"/>
                  <c:y val="-1.86983104898627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2.0825489612180201E-3"/>
                  <c:y val="-1.40237328673969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0"/>
                  <c:y val="-9.34915524493132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2DFD-4307-B91A-D97CF9437C12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6</c:f>
              <c:strCache>
                <c:ptCount val="35"/>
                <c:pt idx="0">
                  <c:v>1989</c:v>
                </c:pt>
                <c:pt idx="1">
                  <c:v>1990</c:v>
                </c:pt>
                <c:pt idx="2">
                  <c:v>1991</c:v>
                </c:pt>
                <c:pt idx="3">
                  <c:v>1992</c:v>
                </c:pt>
                <c:pt idx="4">
                  <c:v>1993</c:v>
                </c:pt>
                <c:pt idx="5">
                  <c:v>1994</c:v>
                </c:pt>
                <c:pt idx="6">
                  <c:v>1995</c:v>
                </c:pt>
                <c:pt idx="7">
                  <c:v>1996</c:v>
                </c:pt>
                <c:pt idx="8">
                  <c:v>1997</c:v>
                </c:pt>
                <c:pt idx="9">
                  <c:v>1998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  <c:pt idx="24">
                  <c:v>2013</c:v>
                </c:pt>
                <c:pt idx="25">
                  <c:v>2014</c:v>
                </c:pt>
                <c:pt idx="26">
                  <c:v>2015</c:v>
                </c:pt>
                <c:pt idx="27">
                  <c:v>2016</c:v>
                </c:pt>
                <c:pt idx="28">
                  <c:v>2017</c:v>
                </c:pt>
                <c:pt idx="29">
                  <c:v>2018</c:v>
                </c:pt>
                <c:pt idx="30">
                  <c:v>2019</c:v>
                </c:pt>
                <c:pt idx="31">
                  <c:v>2020</c:v>
                </c:pt>
                <c:pt idx="32">
                  <c:v>2021</c:v>
                </c:pt>
                <c:pt idx="33">
                  <c:v>2022</c:v>
                </c:pt>
                <c:pt idx="34">
                  <c:v>на 1 сентября 2023</c:v>
                </c:pt>
              </c:strCache>
            </c:strRef>
          </c:cat>
          <c:val>
            <c:numRef>
              <c:f>Лист1!$C$2:$C$36</c:f>
              <c:numCache>
                <c:formatCode>General</c:formatCode>
                <c:ptCount val="35"/>
                <c:pt idx="0">
                  <c:v>34</c:v>
                </c:pt>
                <c:pt idx="1">
                  <c:v>65</c:v>
                </c:pt>
                <c:pt idx="2">
                  <c:v>52</c:v>
                </c:pt>
                <c:pt idx="3">
                  <c:v>0</c:v>
                </c:pt>
                <c:pt idx="4">
                  <c:v>48</c:v>
                </c:pt>
                <c:pt idx="5">
                  <c:v>27</c:v>
                </c:pt>
                <c:pt idx="6">
                  <c:v>24</c:v>
                </c:pt>
                <c:pt idx="7">
                  <c:v>59</c:v>
                </c:pt>
                <c:pt idx="8">
                  <c:v>18</c:v>
                </c:pt>
                <c:pt idx="9">
                  <c:v>44</c:v>
                </c:pt>
                <c:pt idx="10">
                  <c:v>45</c:v>
                </c:pt>
                <c:pt idx="11">
                  <c:v>103</c:v>
                </c:pt>
                <c:pt idx="12">
                  <c:v>167</c:v>
                </c:pt>
                <c:pt idx="13">
                  <c:v>229</c:v>
                </c:pt>
                <c:pt idx="14">
                  <c:v>316</c:v>
                </c:pt>
                <c:pt idx="15">
                  <c:v>76</c:v>
                </c:pt>
                <c:pt idx="16">
                  <c:v>149</c:v>
                </c:pt>
                <c:pt idx="17">
                  <c:v>363</c:v>
                </c:pt>
                <c:pt idx="18">
                  <c:v>220</c:v>
                </c:pt>
                <c:pt idx="19">
                  <c:v>229</c:v>
                </c:pt>
                <c:pt idx="20">
                  <c:v>879</c:v>
                </c:pt>
                <c:pt idx="21">
                  <c:v>261</c:v>
                </c:pt>
                <c:pt idx="22">
                  <c:v>391</c:v>
                </c:pt>
                <c:pt idx="23">
                  <c:v>189</c:v>
                </c:pt>
                <c:pt idx="24">
                  <c:v>165</c:v>
                </c:pt>
                <c:pt idx="25">
                  <c:v>77</c:v>
                </c:pt>
                <c:pt idx="26">
                  <c:v>214</c:v>
                </c:pt>
                <c:pt idx="27">
                  <c:v>282</c:v>
                </c:pt>
                <c:pt idx="28">
                  <c:v>157</c:v>
                </c:pt>
                <c:pt idx="29">
                  <c:v>244</c:v>
                </c:pt>
                <c:pt idx="30">
                  <c:v>187</c:v>
                </c:pt>
                <c:pt idx="31">
                  <c:v>312</c:v>
                </c:pt>
                <c:pt idx="32">
                  <c:v>119</c:v>
                </c:pt>
                <c:pt idx="33">
                  <c:v>97</c:v>
                </c:pt>
                <c:pt idx="34">
                  <c:v>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F-2DFD-4307-B91A-D97CF9437C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5313808"/>
        <c:axId val="195314192"/>
      </c:barChart>
      <c:catAx>
        <c:axId val="195313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95314192"/>
        <c:crossesAt val="0"/>
        <c:auto val="1"/>
        <c:lblAlgn val="ctr"/>
        <c:lblOffset val="100"/>
        <c:noMultiLvlLbl val="0"/>
      </c:catAx>
      <c:valAx>
        <c:axId val="195314192"/>
        <c:scaling>
          <c:orientation val="minMax"/>
        </c:scaling>
        <c:delete val="0"/>
        <c:axPos val="l"/>
        <c:majorGridlines>
          <c:spPr>
            <a:ln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a:ln>
          </c:spPr>
        </c:majorGridlines>
        <c:numFmt formatCode="General" sourceLinked="1"/>
        <c:majorTickMark val="out"/>
        <c:minorTickMark val="none"/>
        <c:tickLblPos val="nextTo"/>
        <c:crossAx val="195313808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6.4271406588975025E-2"/>
          <c:y val="0.88235339585979267"/>
          <c:w val="0.72867305883480282"/>
          <c:h val="4.2264991131185925E-2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B965A5-96DA-4B4D-BFE7-358BF4DD55C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496759-3FA1-41F4-A89A-4E0B40CB5A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06813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485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67974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7936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7341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82193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481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1962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0592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7596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7983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8481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79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96889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003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8954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5499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48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2847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4268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89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4019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5355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8054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7860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7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1D4B4-A1BE-45F1-A4C5-1D7BB8E3452C}" type="datetimeFigureOut">
              <a:rPr lang="ru-RU" smtClean="0"/>
              <a:t>21.09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7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7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EA8853-F8D9-42F2-A423-4E4515B2AC6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7605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C1D4B4-A1BE-45F1-A4C5-1D7BB8E3452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1.09.202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6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EA8853-F8D9-42F2-A423-4E4515B2AC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85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16.xml"/><Relationship Id="rId7" Type="http://schemas.openxmlformats.org/officeDocument/2006/relationships/image" Target="../media/image2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png"/><Relationship Id="rId7" Type="http://schemas.openxmlformats.org/officeDocument/2006/relationships/image" Target="../media/image9.jpg"/><Relationship Id="rId12" Type="http://schemas.openxmlformats.org/officeDocument/2006/relationships/image" Target="../media/image14.png"/><Relationship Id="rId17" Type="http://schemas.openxmlformats.org/officeDocument/2006/relationships/image" Target="../media/image3.png"/><Relationship Id="rId2" Type="http://schemas.openxmlformats.org/officeDocument/2006/relationships/image" Target="../media/image4.png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.png"/><Relationship Id="rId11" Type="http://schemas.openxmlformats.org/officeDocument/2006/relationships/image" Target="../media/image13.JP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jpe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tags" Target="../tags/tag6.xml"/><Relationship Id="rId7" Type="http://schemas.openxmlformats.org/officeDocument/2006/relationships/image" Target="../media/image20.jp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2.jp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14.xml"/><Relationship Id="rId7" Type="http://schemas.openxmlformats.org/officeDocument/2006/relationships/image" Target="../media/image25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66" y="0"/>
            <a:ext cx="12192000" cy="6858000"/>
          </a:xfrm>
          <a:prstGeom prst="rect">
            <a:avLst/>
          </a:prstGeom>
          <a:solidFill>
            <a:schemeClr val="lt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523997" y="1834723"/>
            <a:ext cx="9144000" cy="38280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5000" b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744341" y="2009794"/>
            <a:ext cx="7562337" cy="1832089"/>
          </a:xfrm>
          <a:prstGeom prst="round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>
            <a:softEdge rad="63500"/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4000" b="1" dirty="0" smtClean="0">
                <a:solidFill>
                  <a:srgbClr val="17437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Times New Roman" panose="02020603050405020304" pitchFamily="18" charset="0"/>
              </a:rPr>
              <a:t>Борьба с бешенством в Республике Беларусь</a:t>
            </a:r>
            <a:endParaRPr lang="ru-RU" sz="4000" b="1" dirty="0">
              <a:solidFill>
                <a:srgbClr val="17437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  <a:p>
            <a:pPr algn="ctr"/>
            <a:endParaRPr lang="ru-RU" dirty="0">
              <a:latin typeface="Roboto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006179" y="5184529"/>
            <a:ext cx="10250487" cy="1279000"/>
          </a:xfrm>
          <a:prstGeom prst="round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>
            <a:softEdge rad="127000"/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r">
              <a:defRPr/>
            </a:pPr>
            <a:r>
              <a:rPr lang="ru-RU" b="1" dirty="0" smtClean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Директор Унитарного предприятия «Научно-исследовательский институт Биофарм» </a:t>
            </a:r>
          </a:p>
          <a:p>
            <a:pPr algn="r">
              <a:defRPr/>
            </a:pPr>
            <a:r>
              <a:rPr lang="ru-RU" b="1" dirty="0" smtClean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Александр Ляховский</a:t>
            </a:r>
            <a:endParaRPr lang="ru-RU" b="1" dirty="0">
              <a:solidFill>
                <a:srgbClr val="174379"/>
              </a:solidFill>
              <a:latin typeface="Roboto"/>
              <a:cs typeface="Times New Roman" panose="02020603050405020304" pitchFamily="18" charset="0"/>
            </a:endParaRPr>
          </a:p>
          <a:p>
            <a:pPr algn="r">
              <a:defRPr/>
            </a:pPr>
            <a:r>
              <a:rPr lang="ru-RU" b="1" dirty="0" smtClean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г. Витебск</a:t>
            </a:r>
            <a:r>
              <a:rPr lang="ru-RU" b="1" dirty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, 2023 г.</a:t>
            </a:r>
            <a:endParaRPr lang="ru-RU" dirty="0">
              <a:solidFill>
                <a:srgbClr val="174379"/>
              </a:solidFill>
              <a:latin typeface="Roboto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690" y="141526"/>
            <a:ext cx="1380674" cy="1380674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71892" y="141526"/>
            <a:ext cx="2792210" cy="701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82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E6C5F5E-A61F-480D-9F98-223CD105C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B57F4346-C82A-43EB-8E94-1C80A399FF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04586B-C073-4D26-8E50-C58B2781D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0863" y="6552573"/>
            <a:ext cx="2743200" cy="365125"/>
          </a:xfrm>
        </p:spPr>
        <p:txBody>
          <a:bodyPr/>
          <a:lstStyle/>
          <a:p>
            <a:fld id="{88E633B3-D880-4D9D-B1C0-9A9753E140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Прямоугольник с двумя усеченными противолежащими углами 16"/>
          <p:cNvSpPr/>
          <p:nvPr/>
        </p:nvSpPr>
        <p:spPr>
          <a:xfrm>
            <a:off x="288324" y="4319466"/>
            <a:ext cx="11532973" cy="2307248"/>
          </a:xfrm>
          <a:prstGeom prst="snip2Diag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softEdge rad="241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rgbClr val="222222"/>
                </a:solidFill>
                <a:latin typeface="Roboto"/>
              </a:rPr>
              <a:t>	При разбросе и раскладке приманки важно сохранять меры предосторожности и минимизировать контакт человека с приманкой. </a:t>
            </a:r>
            <a:endParaRPr lang="ru-RU" dirty="0" smtClean="0">
              <a:solidFill>
                <a:srgbClr val="222222"/>
              </a:solidFill>
              <a:latin typeface="Roboto"/>
            </a:endParaRPr>
          </a:p>
          <a:p>
            <a:pPr algn="just"/>
            <a:r>
              <a:rPr lang="ru-RU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Один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из самых эффективных способов – разбрасывание приманок с помощью 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авиационной техники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. 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Благодаря этому, за последние 8 лет количество заболеваний снизилось в 3 раза. Следует отметить, что для домашних животных капсулы абсолютно безвредны.</a:t>
            </a:r>
            <a:endParaRPr lang="ru-RU" dirty="0">
              <a:solidFill>
                <a:srgbClr val="222222"/>
              </a:solidFill>
              <a:latin typeface="Roboto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61674" y="200015"/>
            <a:ext cx="3792133" cy="428795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17508" y="200015"/>
            <a:ext cx="3714983" cy="4262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4108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146854" y="1688757"/>
            <a:ext cx="7125729" cy="1779373"/>
          </a:xfrm>
        </p:spPr>
        <p:txBody>
          <a:bodyPr rtlCol="0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4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</a:rPr>
              <a:t>СПАСИБО ЗА ВНИМАНИЕ</a:t>
            </a:r>
            <a:r>
              <a:rPr lang="ru-RU" sz="4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</a:rPr>
              <a:t>!</a:t>
            </a:r>
            <a:endParaRPr lang="ru-RU" sz="40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53514" y="4695568"/>
            <a:ext cx="10214919" cy="1218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b="1" dirty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Директор </a:t>
            </a:r>
            <a:r>
              <a:rPr lang="ru-RU" b="1" dirty="0" smtClean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Унитарного предприятия </a:t>
            </a:r>
            <a:r>
              <a:rPr lang="ru-RU" b="1" dirty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«Научно-исследовательский институт Биофарм» </a:t>
            </a:r>
          </a:p>
          <a:p>
            <a:pPr algn="r">
              <a:defRPr/>
            </a:pPr>
            <a:r>
              <a:rPr lang="ru-RU" b="1" dirty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Александр </a:t>
            </a:r>
            <a:r>
              <a:rPr lang="ru-RU" b="1" dirty="0" smtClean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Ляховский</a:t>
            </a:r>
          </a:p>
          <a:p>
            <a:pPr algn="r">
              <a:defRPr/>
            </a:pPr>
            <a:r>
              <a:rPr lang="ru-RU" b="1" dirty="0" smtClean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+ 375 44 703 12 32</a:t>
            </a:r>
            <a:endParaRPr lang="ru-RU" b="1" dirty="0">
              <a:solidFill>
                <a:srgbClr val="174379"/>
              </a:solidFill>
              <a:latin typeface="Roboto"/>
              <a:cs typeface="Times New Roman" panose="02020603050405020304" pitchFamily="18" charset="0"/>
            </a:endParaRPr>
          </a:p>
          <a:p>
            <a:pPr algn="r">
              <a:defRPr/>
            </a:pPr>
            <a:r>
              <a:rPr lang="ru-RU" b="1" dirty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г</a:t>
            </a:r>
            <a:r>
              <a:rPr lang="ru-RU" b="1" dirty="0" smtClean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. Витебск</a:t>
            </a:r>
            <a:r>
              <a:rPr lang="ru-RU" b="1" dirty="0">
                <a:solidFill>
                  <a:srgbClr val="174379"/>
                </a:solidFill>
                <a:latin typeface="Roboto"/>
                <a:cs typeface="Times New Roman" panose="02020603050405020304" pitchFamily="18" charset="0"/>
              </a:rPr>
              <a:t>, 2023 г.</a:t>
            </a:r>
            <a:endParaRPr lang="ru-RU" dirty="0">
              <a:solidFill>
                <a:srgbClr val="174379"/>
              </a:solidFill>
              <a:latin typeface="Roboto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43" y="112926"/>
            <a:ext cx="1746071" cy="174607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67035" y="395955"/>
            <a:ext cx="2792210" cy="7011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96177252"/>
      </p:ext>
    </p:extLst>
  </p:cSld>
  <p:clrMapOvr>
    <a:masterClrMapping/>
  </p:clrMapOvr>
  <p:transition spd="slow" advTm="7153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4128" y="5488660"/>
            <a:ext cx="1642371" cy="119683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9292" y="2024639"/>
            <a:ext cx="1451947" cy="94666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3765" y="2497974"/>
            <a:ext cx="1128292" cy="120163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4039" y="2159245"/>
            <a:ext cx="1609556" cy="50637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3776" y="2903030"/>
            <a:ext cx="1754444" cy="39151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3441" y="2926078"/>
            <a:ext cx="1430335" cy="14303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4173" y="3598402"/>
            <a:ext cx="1562383" cy="457282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246" y="4317696"/>
            <a:ext cx="1915739" cy="62740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8296" y="3148654"/>
            <a:ext cx="1022117" cy="1022117"/>
          </a:xfrm>
          <a:prstGeom prst="rect">
            <a:avLst/>
          </a:prstGeom>
          <a:effectLst>
            <a:softEdge rad="101600"/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7363" y="4015899"/>
            <a:ext cx="1453860" cy="13992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75361" y="5198060"/>
            <a:ext cx="2684839" cy="552369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236652" y="4298613"/>
            <a:ext cx="1854248" cy="418556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725083" y="4858896"/>
            <a:ext cx="1365817" cy="812662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725083" y="5753617"/>
            <a:ext cx="1354155" cy="804449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38246" y="5873148"/>
            <a:ext cx="1363089" cy="812346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4" name="Прямоугольник с двумя усеченными противолежащими углами 23"/>
          <p:cNvSpPr/>
          <p:nvPr/>
        </p:nvSpPr>
        <p:spPr>
          <a:xfrm>
            <a:off x="317196" y="1635511"/>
            <a:ext cx="5820055" cy="5239538"/>
          </a:xfrm>
          <a:prstGeom prst="snip2Diag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softEdge rad="241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/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ru-RU" dirty="0" smtClean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Первоочередными задачами института  </a:t>
            </a:r>
            <a:r>
              <a:rPr lang="ru-RU" dirty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являются </a:t>
            </a:r>
            <a:r>
              <a:rPr lang="ru-RU" dirty="0" smtClean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совершенствование и </a:t>
            </a:r>
            <a:r>
              <a:rPr lang="ru-RU" b="1" dirty="0" smtClean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разработка</a:t>
            </a:r>
            <a:r>
              <a:rPr lang="ru-RU" dirty="0" smtClean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и </a:t>
            </a:r>
            <a:r>
              <a:rPr lang="ru-RU" b="1" dirty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внедрение инновационных продуктов и технологий, т.е. более современных вакцин и лекарств, которые можно использовать в меньших дозах, в меньшей кратности, с оптимально эффективным способом доставки, с минимумом побочных эффектов, быстрой выводимостью, обеспечивающих долгосрочный эффект.</a:t>
            </a:r>
            <a:r>
              <a:rPr lang="ru-RU" b="1" dirty="0" smtClean="0">
                <a:latin typeface="Roboto"/>
              </a:rPr>
              <a:t> </a:t>
            </a:r>
          </a:p>
          <a:p>
            <a:pPr lvl="0" algn="just"/>
            <a:r>
              <a:rPr lang="ru-RU" dirty="0" smtClean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	В </a:t>
            </a:r>
            <a:r>
              <a:rPr lang="ru-RU" dirty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разработке задействованы ведущие ученые в области биотехнологий Республики Беларусь, Российской Федерации, стран СНГ и </a:t>
            </a:r>
            <a:r>
              <a:rPr lang="ru-RU" dirty="0" smtClean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ЕС. Проводятся изыскания по формированию </a:t>
            </a:r>
            <a:r>
              <a:rPr lang="ru-RU" dirty="0">
                <a:solidFill>
                  <a:schemeClr val="tx1"/>
                </a:solidFill>
                <a:latin typeface="Roboto"/>
                <a:cs typeface="Times New Roman" panose="02020603050405020304" pitchFamily="18" charset="0"/>
              </a:rPr>
              <a:t>собственной коллекции штаммов микроорганизмов.</a:t>
            </a: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352168" y="359206"/>
            <a:ext cx="11570165" cy="81432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Times New Roman" panose="02020603050405020304" pitchFamily="18" charset="0"/>
              </a:rPr>
              <a:t>ГРУППА КОМПАНИЙ ОАО «БЕЛВИТУНИФАРМ» </a:t>
            </a:r>
          </a:p>
          <a:p>
            <a:pPr algn="ctr"/>
            <a:endParaRPr lang="ru-RU" sz="20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  <a:p>
            <a:pPr algn="ctr"/>
            <a:endParaRPr lang="ru-RU" sz="2000" b="1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Times New Roman" panose="02020603050405020304" pitchFamily="18" charset="0"/>
              </a:rPr>
              <a:t>НАУЧНО-ИССЛЕДОВАТЕЛЬСКИЙ ИНСТИТУТ «БИОФАРМ»</a:t>
            </a:r>
            <a:endParaRPr lang="ru-RU" sz="2000" b="1" u="sng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254346" y="138206"/>
            <a:ext cx="2792210" cy="701101"/>
          </a:xfrm>
          <a:prstGeom prst="rect">
            <a:avLst/>
          </a:prstGeom>
        </p:spPr>
      </p:pic>
      <p:sp>
        <p:nvSpPr>
          <p:cNvPr id="2" name="Стрелка вниз 1"/>
          <p:cNvSpPr/>
          <p:nvPr/>
        </p:nvSpPr>
        <p:spPr>
          <a:xfrm>
            <a:off x="6014128" y="766368"/>
            <a:ext cx="446493" cy="40716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927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E6C5F5E-A61F-480D-9F98-223CD105C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B57F4346-C82A-43EB-8E94-1C80A399FF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04586B-C073-4D26-8E50-C58B2781D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0863" y="6552573"/>
            <a:ext cx="2743200" cy="365125"/>
          </a:xfrm>
        </p:spPr>
        <p:txBody>
          <a:bodyPr/>
          <a:lstStyle/>
          <a:p>
            <a:fld id="{88E633B3-D880-4D9D-B1C0-9A9753E140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Прямоугольник с двумя усеченными противолежащими углами 16"/>
          <p:cNvSpPr/>
          <p:nvPr/>
        </p:nvSpPr>
        <p:spPr>
          <a:xfrm>
            <a:off x="529993" y="3988761"/>
            <a:ext cx="10890981" cy="3184552"/>
          </a:xfrm>
          <a:prstGeom prst="snip2Diag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softEdge rad="241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 smtClean="0">
                <a:solidFill>
                  <a:srgbClr val="222222"/>
                </a:solidFill>
                <a:latin typeface="Roboto"/>
              </a:rPr>
              <a:t>	</a:t>
            </a:r>
          </a:p>
          <a:p>
            <a:pPr algn="just"/>
            <a:r>
              <a:rPr lang="ru-RU" sz="2000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sz="2000" dirty="0" smtClean="0">
                <a:solidFill>
                  <a:srgbClr val="222222"/>
                </a:solidFill>
                <a:latin typeface="Roboto"/>
              </a:rPr>
              <a:t>Бешенство попадает </a:t>
            </a:r>
            <a:r>
              <a:rPr lang="ru-RU" sz="2000" dirty="0">
                <a:solidFill>
                  <a:srgbClr val="222222"/>
                </a:solidFill>
                <a:latin typeface="Roboto"/>
              </a:rPr>
              <a:t>под действие Дорожной карты ВОЗ по борьбе с забытыми тропическими болезнями на 2021–2030 гг., в которой установлены целевые показатели для поэтапной элиминации регионами ряда приоритетных заболеваний. К числу этих заболеваний отнесено и бешенство. </a:t>
            </a:r>
            <a:endParaRPr lang="ru-RU" sz="2000" dirty="0" smtClean="0">
              <a:solidFill>
                <a:srgbClr val="222222"/>
              </a:solidFill>
              <a:latin typeface="Roboto"/>
            </a:endParaRPr>
          </a:p>
          <a:p>
            <a:pPr algn="just"/>
            <a:r>
              <a:rPr lang="ru-RU" sz="2000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sz="2000" dirty="0" smtClean="0">
                <a:solidFill>
                  <a:srgbClr val="222222"/>
                </a:solidFill>
                <a:latin typeface="Roboto"/>
              </a:rPr>
              <a:t>С </a:t>
            </a:r>
            <a:r>
              <a:rPr lang="ru-RU" sz="2000" dirty="0">
                <a:solidFill>
                  <a:srgbClr val="222222"/>
                </a:solidFill>
                <a:latin typeface="Roboto"/>
              </a:rPr>
              <a:t>учетом зоонозного характера этой болезни борьба с бешенством должна вестись в рамках тесного межведомственного </a:t>
            </a:r>
            <a:r>
              <a:rPr lang="ru-RU" sz="2000" b="1" dirty="0">
                <a:solidFill>
                  <a:srgbClr val="222222"/>
                </a:solidFill>
                <a:latin typeface="Roboto"/>
              </a:rPr>
              <a:t>взаимодействия на национальном</a:t>
            </a:r>
            <a:r>
              <a:rPr lang="ru-RU" sz="2000" dirty="0">
                <a:solidFill>
                  <a:srgbClr val="222222"/>
                </a:solidFill>
                <a:latin typeface="Roboto"/>
              </a:rPr>
              <a:t>, </a:t>
            </a:r>
            <a:r>
              <a:rPr lang="ru-RU" sz="2000" b="1" dirty="0">
                <a:solidFill>
                  <a:srgbClr val="222222"/>
                </a:solidFill>
                <a:latin typeface="Roboto"/>
              </a:rPr>
              <a:t>региональном и глобальном уровнях</a:t>
            </a:r>
            <a:r>
              <a:rPr lang="ru-RU" sz="2000" dirty="0" smtClean="0">
                <a:solidFill>
                  <a:srgbClr val="222222"/>
                </a:solidFill>
                <a:latin typeface="Roboto"/>
              </a:rPr>
              <a:t>.</a:t>
            </a:r>
          </a:p>
          <a:p>
            <a:pPr algn="just"/>
            <a:endParaRPr lang="ru-RU" dirty="0">
              <a:solidFill>
                <a:srgbClr val="222222"/>
              </a:solidFill>
              <a:latin typeface="Roboto"/>
            </a:endParaRPr>
          </a:p>
          <a:p>
            <a:pPr algn="just"/>
            <a:endParaRPr lang="ru-RU" dirty="0">
              <a:solidFill>
                <a:srgbClr val="222222"/>
              </a:solidFill>
              <a:latin typeface="Roboto"/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738951" y="1676781"/>
            <a:ext cx="3822356" cy="247958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Roboto"/>
              </a:rPr>
              <a:t>Ежегодно </a:t>
            </a:r>
            <a:r>
              <a:rPr lang="ru-RU" sz="2000" dirty="0">
                <a:solidFill>
                  <a:schemeClr val="tx1"/>
                </a:solidFill>
                <a:latin typeface="Roboto"/>
              </a:rPr>
              <a:t>от бешенства умирают </a:t>
            </a:r>
            <a:r>
              <a:rPr lang="ru-RU" sz="2000" b="1" dirty="0">
                <a:solidFill>
                  <a:schemeClr val="tx1"/>
                </a:solidFill>
                <a:latin typeface="Roboto"/>
              </a:rPr>
              <a:t>59 000 </a:t>
            </a:r>
            <a:r>
              <a:rPr lang="ru-RU" sz="2000" dirty="0">
                <a:solidFill>
                  <a:schemeClr val="tx1"/>
                </a:solidFill>
                <a:latin typeface="Roboto"/>
              </a:rPr>
              <a:t>человек</a:t>
            </a:r>
          </a:p>
        </p:txBody>
      </p:sp>
      <p:sp>
        <p:nvSpPr>
          <p:cNvPr id="7" name="Равно 6"/>
          <p:cNvSpPr/>
          <p:nvPr/>
        </p:nvSpPr>
        <p:spPr>
          <a:xfrm>
            <a:off x="4916590" y="2628251"/>
            <a:ext cx="1878507" cy="576648"/>
          </a:xfrm>
          <a:prstGeom prst="mathEqual">
            <a:avLst/>
          </a:prstGeom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7317021" y="1676781"/>
            <a:ext cx="3822356" cy="2479589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prstClr val="black"/>
                </a:solidFill>
                <a:latin typeface="Roboto"/>
              </a:rPr>
              <a:t>Это один человек каждые девять минут каждого дня, </a:t>
            </a:r>
            <a:r>
              <a:rPr lang="ru-RU" sz="2000" b="1" dirty="0">
                <a:solidFill>
                  <a:prstClr val="black"/>
                </a:solidFill>
                <a:latin typeface="Roboto"/>
              </a:rPr>
              <a:t>40%</a:t>
            </a:r>
            <a:r>
              <a:rPr lang="ru-RU" sz="2000" dirty="0">
                <a:solidFill>
                  <a:prstClr val="black"/>
                </a:solidFill>
                <a:latin typeface="Roboto"/>
              </a:rPr>
              <a:t> </a:t>
            </a:r>
            <a:r>
              <a:rPr lang="ru-RU" sz="2000" b="1" dirty="0">
                <a:solidFill>
                  <a:prstClr val="black"/>
                </a:solidFill>
                <a:latin typeface="Roboto"/>
              </a:rPr>
              <a:t>из которых — дети</a:t>
            </a:r>
            <a:r>
              <a:rPr lang="ru-RU" sz="2000" dirty="0">
                <a:solidFill>
                  <a:prstClr val="black"/>
                </a:solidFill>
                <a:latin typeface="Roboto"/>
              </a:rPr>
              <a:t>, живущие в Азии и Африке</a:t>
            </a:r>
            <a:endParaRPr lang="ru-RU" sz="2000" dirty="0">
              <a:solidFill>
                <a:schemeClr val="tx1"/>
              </a:solidFill>
              <a:latin typeface="Roboto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38951" y="432875"/>
            <a:ext cx="104730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dirty="0">
              <a:latin typeface="Roboto"/>
            </a:endParaRPr>
          </a:p>
          <a:p>
            <a:pPr algn="just"/>
            <a:r>
              <a:rPr lang="en-US" b="1" dirty="0" smtClean="0">
                <a:latin typeface="Roboto"/>
              </a:rPr>
              <a:t>	</a:t>
            </a:r>
            <a:r>
              <a:rPr lang="ru-RU" b="1" dirty="0" smtClean="0">
                <a:latin typeface="Roboto"/>
              </a:rPr>
              <a:t>БЕШЕНСТВО</a:t>
            </a:r>
            <a:r>
              <a:rPr lang="ru-RU" dirty="0" smtClean="0">
                <a:latin typeface="Roboto"/>
              </a:rPr>
              <a:t> </a:t>
            </a:r>
            <a:r>
              <a:rPr lang="ru-RU" dirty="0">
                <a:latin typeface="Roboto"/>
              </a:rPr>
              <a:t>присутствует на всех континентах за исключением Антарктиды, при этом 40% умерших приходится на детей в возрасте младше 15 лет.</a:t>
            </a:r>
          </a:p>
        </p:txBody>
      </p:sp>
    </p:spTree>
    <p:extLst>
      <p:ext uri="{BB962C8B-B14F-4D97-AF65-F5344CB8AC3E}">
        <p14:creationId xmlns:p14="http://schemas.microsoft.com/office/powerpoint/2010/main" val="90883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E6C5F5E-A61F-480D-9F98-223CD105C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B57F4346-C82A-43EB-8E94-1C80A399FF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04586B-C073-4D26-8E50-C58B2781D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0863" y="6552573"/>
            <a:ext cx="2743200" cy="365125"/>
          </a:xfrm>
        </p:spPr>
        <p:txBody>
          <a:bodyPr/>
          <a:lstStyle/>
          <a:p>
            <a:fld id="{88E633B3-D880-4D9D-B1C0-9A9753E140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Прямоугольник с двумя усеченными противолежащими углами 16"/>
          <p:cNvSpPr/>
          <p:nvPr/>
        </p:nvSpPr>
        <p:spPr>
          <a:xfrm>
            <a:off x="115330" y="4390766"/>
            <a:ext cx="12076670" cy="2804356"/>
          </a:xfrm>
          <a:prstGeom prst="snip2Diag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softEdge rad="241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Предотвращение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в Республике Беларусь с 2013 года случаев заболевания и гибели людей от бешенства можно рассматривать как результат постоянного скоординированного взаимодействия Министерства здравоохранения Республики Беларусь со всеми заинтересованными министерствами и ведомствами по профилактике бешенства среди людей и животных. </a:t>
            </a:r>
            <a:endParaRPr lang="ru-RU" dirty="0" smtClean="0">
              <a:solidFill>
                <a:srgbClr val="222222"/>
              </a:solidFill>
              <a:latin typeface="Roboto"/>
            </a:endParaRPr>
          </a:p>
          <a:p>
            <a:pPr algn="just"/>
            <a:r>
              <a:rPr lang="ru-RU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В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тоже время случаи заболевания бешенством животных продолжают 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регистрироваться как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среди диких, так и, что немаловажно, среди домашних и сельскохозяйственных животных, на территории всех областей республики. 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1802832194"/>
              </p:ext>
            </p:extLst>
          </p:nvPr>
        </p:nvGraphicFramePr>
        <p:xfrm>
          <a:off x="1569098" y="719322"/>
          <a:ext cx="8723871" cy="4291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284124" y="158803"/>
            <a:ext cx="944210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Times New Roman" panose="02020603050405020304" pitchFamily="18" charset="0"/>
              </a:rPr>
              <a:t>ЭПИЗООТИЧЕСКАЯ СИТУАЦИЯ ПО БЕШЕНСТВУ В РЕСПУБЛИКЕ БЕЛАРУСЬ</a:t>
            </a:r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  <a:p>
            <a:pPr algn="ctr"/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  <a:p>
            <a:pPr algn="ctr"/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9162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E6C5F5E-A61F-480D-9F98-223CD105C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1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B57F4346-C82A-43EB-8E94-1C80A399FF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04586B-C073-4D26-8E50-C58B2781D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0863" y="6552573"/>
            <a:ext cx="2743200" cy="365125"/>
          </a:xfrm>
        </p:spPr>
        <p:txBody>
          <a:bodyPr/>
          <a:lstStyle/>
          <a:p>
            <a:fld id="{88E633B3-D880-4D9D-B1C0-9A9753E140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Прямоугольник с двумя усеченными противолежащими углами 16"/>
          <p:cNvSpPr/>
          <p:nvPr/>
        </p:nvSpPr>
        <p:spPr>
          <a:xfrm>
            <a:off x="6376086" y="-53547"/>
            <a:ext cx="5717059" cy="6911547"/>
          </a:xfrm>
          <a:prstGeom prst="snip2Diag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softEdge rad="241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 smtClean="0">
                <a:solidFill>
                  <a:srgbClr val="222222"/>
                </a:solidFill>
                <a:latin typeface="Roboto"/>
              </a:rPr>
              <a:t>	На 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актуальность проблемы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в нашей стране на современном этапе указывают факты стабильно высокой ежегодной обращаемости населения за антирабической медицинской помощью, в том числе вследствие контакта с больными бешенством животными. 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	</a:t>
            </a:r>
          </a:p>
          <a:p>
            <a:pPr algn="just"/>
            <a:r>
              <a:rPr lang="ru-RU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Продолжают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регистрироваться случаи массовых контактов людей с больными бешенством животными с числом пострадавших на один случай массового контакта – 5 и более человек. </a:t>
            </a:r>
            <a:endParaRPr lang="ru-RU" dirty="0" smtClean="0">
              <a:solidFill>
                <a:srgbClr val="222222"/>
              </a:solidFill>
              <a:latin typeface="Roboto"/>
            </a:endParaRPr>
          </a:p>
          <a:p>
            <a:pPr algn="just"/>
            <a:r>
              <a:rPr lang="ru-RU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К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сожалению, в структуре обратившихся за антирабической медицинской помощью, остается определенная доля лиц, отказывающихся или самостоятельно прерывающих курс лечебно-профилактической иммунизации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25" y="247137"/>
            <a:ext cx="5379307" cy="302586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061" y="3563801"/>
            <a:ext cx="5425646" cy="3049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76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E6C5F5E-A61F-480D-9F98-223CD105C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B57F4346-C82A-43EB-8E94-1C80A399FF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04586B-C073-4D26-8E50-C58B2781D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0863" y="6552573"/>
            <a:ext cx="2743200" cy="365125"/>
          </a:xfrm>
        </p:spPr>
        <p:txBody>
          <a:bodyPr/>
          <a:lstStyle/>
          <a:p>
            <a:fld id="{88E633B3-D880-4D9D-B1C0-9A9753E140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9722" y="2457463"/>
            <a:ext cx="4956561" cy="3064157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901962" y="307084"/>
            <a:ext cx="88448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Times New Roman" panose="02020603050405020304" pitchFamily="18" charset="0"/>
              </a:rPr>
              <a:t>ВАКЦИНАЦИЯ </a:t>
            </a:r>
            <a:r>
              <a:rPr lang="ru-RU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Times New Roman" panose="02020603050405020304" pitchFamily="18" charset="0"/>
              </a:rPr>
              <a:t>ДОМАШНИХ И СЕЛЬСКОХОЗЯЙСТВЕННЫХ ЖИВОТНЫХ</a:t>
            </a:r>
          </a:p>
          <a:p>
            <a:pPr algn="ctr"/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  <a:p>
            <a:pPr algn="ctr"/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68518" y="2028258"/>
            <a:ext cx="609210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 smtClean="0">
                <a:solidFill>
                  <a:srgbClr val="222222"/>
                </a:solidFill>
                <a:latin typeface="Roboto"/>
              </a:rPr>
              <a:t>Вакцина 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«БЕЛРАБ» </a:t>
            </a:r>
            <a:r>
              <a:rPr lang="ru-RU" b="1" dirty="0" smtClean="0">
                <a:solidFill>
                  <a:srgbClr val="222222"/>
                </a:solidFill>
                <a:latin typeface="Roboto"/>
              </a:rPr>
              <a:t>антирабическая инактивированная 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из штамма «71 </a:t>
            </a:r>
            <a:r>
              <a:rPr lang="ru-RU" b="1" dirty="0" err="1">
                <a:solidFill>
                  <a:srgbClr val="222222"/>
                </a:solidFill>
                <a:latin typeface="Roboto"/>
              </a:rPr>
              <a:t>БелНИИЭВ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-ВГНКИ</a:t>
            </a:r>
            <a:r>
              <a:rPr lang="ru-RU" b="1" dirty="0" smtClean="0">
                <a:solidFill>
                  <a:srgbClr val="222222"/>
                </a:solidFill>
                <a:latin typeface="Roboto"/>
              </a:rPr>
              <a:t>».</a:t>
            </a:r>
          </a:p>
          <a:p>
            <a:pPr lvl="0" algn="just"/>
            <a:endParaRPr lang="ru-RU" dirty="0">
              <a:solidFill>
                <a:srgbClr val="222222"/>
              </a:solidFill>
              <a:latin typeface="Roboto"/>
            </a:endParaRPr>
          </a:p>
          <a:p>
            <a:pPr lvl="0" algn="just"/>
            <a:r>
              <a:rPr lang="ru-RU" dirty="0" smtClean="0">
                <a:solidFill>
                  <a:srgbClr val="222222"/>
                </a:solidFill>
                <a:latin typeface="Roboto"/>
              </a:rPr>
              <a:t>	Вакцина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предназначена для иммунизации домашних и сельскохозяйственных животных (крупного и мелкого рогатого скота, лошадей, верблюдов, свиней, собак и кошек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). </a:t>
            </a:r>
          </a:p>
          <a:p>
            <a:pPr lvl="0" algn="just"/>
            <a:r>
              <a:rPr lang="ru-RU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Данная вакцина поставляется производителем ОАО «</a:t>
            </a:r>
            <a:r>
              <a:rPr lang="ru-RU" dirty="0" err="1" smtClean="0">
                <a:solidFill>
                  <a:srgbClr val="222222"/>
                </a:solidFill>
                <a:latin typeface="Roboto"/>
              </a:rPr>
              <a:t>БелВитунифарм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» в государственный резервный фонд, с использованием которой, системы государственных ветеринарных служб осуществляют профилактическую иммунизацию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домашних и сельскохозяйственных животных 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по всей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Р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еспублике Беларусь. Питомца можно привить бесплатно в ветеринарной станции.</a:t>
            </a:r>
            <a:endParaRPr lang="ru-RU" dirty="0">
              <a:solidFill>
                <a:srgbClr val="222222"/>
              </a:solidFill>
              <a:latin typeface="Roboto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68518" y="915760"/>
            <a:ext cx="114332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dirty="0" smtClean="0">
                <a:solidFill>
                  <a:srgbClr val="222222"/>
                </a:solidFill>
                <a:latin typeface="Roboto"/>
              </a:rPr>
              <a:t>	Резервуаром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для вируса служат дикие и бродячие животные, преимущественно хищники, некоторые виды грызунов, которые заражают домашних животных и сельскохозяйственный скот. Предприятием ОАО «</a:t>
            </a:r>
            <a:r>
              <a:rPr lang="ru-RU" dirty="0" err="1">
                <a:solidFill>
                  <a:srgbClr val="222222"/>
                </a:solidFill>
                <a:latin typeface="Roboto"/>
              </a:rPr>
              <a:t>БелВитунифарм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» реализуется 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стратегия профилактики бешенства «под ключ». </a:t>
            </a:r>
          </a:p>
        </p:txBody>
      </p:sp>
      <p:sp>
        <p:nvSpPr>
          <p:cNvPr id="7" name="Овал 6"/>
          <p:cNvSpPr/>
          <p:nvPr/>
        </p:nvSpPr>
        <p:spPr>
          <a:xfrm>
            <a:off x="974220" y="2093720"/>
            <a:ext cx="316195" cy="2734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Roboto"/>
              </a:rPr>
              <a:t>1</a:t>
            </a:r>
            <a:endParaRPr lang="ru-RU" b="1" dirty="0">
              <a:solidFill>
                <a:schemeClr val="tx1"/>
              </a:solidFill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840095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E6C5F5E-A61F-480D-9F98-223CD105C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B57F4346-C82A-43EB-8E94-1C80A399FF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04586B-C073-4D26-8E50-C58B2781D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0863" y="6552573"/>
            <a:ext cx="2743200" cy="365125"/>
          </a:xfrm>
        </p:spPr>
        <p:txBody>
          <a:bodyPr/>
          <a:lstStyle/>
          <a:p>
            <a:fld id="{88E633B3-D880-4D9D-B1C0-9A9753E140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901962" y="307084"/>
            <a:ext cx="88448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Roboto"/>
                <a:cs typeface="Times New Roman" panose="02020603050405020304" pitchFamily="18" charset="0"/>
              </a:rPr>
              <a:t>ВАКЦИНАЦИЯ ДИКИХ ПЛОТОЯДНЫХ ЖИВОТНЫХ</a:t>
            </a:r>
            <a:endParaRPr lang="ru-RU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Roboto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68518" y="2028258"/>
            <a:ext cx="6092103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b="1" dirty="0" smtClean="0">
                <a:solidFill>
                  <a:srgbClr val="222222"/>
                </a:solidFill>
                <a:latin typeface="Roboto"/>
              </a:rPr>
              <a:t>Приманка </a:t>
            </a:r>
            <a:r>
              <a:rPr lang="ru-RU" b="1" dirty="0" err="1" smtClean="0">
                <a:solidFill>
                  <a:srgbClr val="222222"/>
                </a:solidFill>
                <a:latin typeface="Roboto"/>
              </a:rPr>
              <a:t>вакциносодержащая</a:t>
            </a:r>
            <a:r>
              <a:rPr lang="ru-RU" b="1" dirty="0" smtClean="0">
                <a:solidFill>
                  <a:srgbClr val="222222"/>
                </a:solidFill>
                <a:latin typeface="Roboto"/>
              </a:rPr>
              <a:t> антирабическая</a:t>
            </a:r>
            <a:endParaRPr lang="ru-RU" b="1" dirty="0">
              <a:solidFill>
                <a:srgbClr val="222222"/>
              </a:solidFill>
              <a:latin typeface="Roboto"/>
            </a:endParaRPr>
          </a:p>
          <a:p>
            <a:pPr lvl="0" algn="ctr"/>
            <a:r>
              <a:rPr lang="ru-RU" b="1" dirty="0">
                <a:solidFill>
                  <a:srgbClr val="222222"/>
                </a:solidFill>
                <a:latin typeface="Roboto"/>
              </a:rPr>
              <a:t>«</a:t>
            </a:r>
            <a:r>
              <a:rPr lang="ru-RU" b="1" dirty="0" err="1">
                <a:solidFill>
                  <a:srgbClr val="222222"/>
                </a:solidFill>
                <a:latin typeface="Roboto"/>
              </a:rPr>
              <a:t>Рабивит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-ВБФ</a:t>
            </a:r>
            <a:r>
              <a:rPr lang="ru-RU" b="1" dirty="0" smtClean="0">
                <a:solidFill>
                  <a:srgbClr val="222222"/>
                </a:solidFill>
                <a:latin typeface="Roboto"/>
              </a:rPr>
              <a:t>»</a:t>
            </a:r>
            <a:endParaRPr lang="ru-RU" b="1" dirty="0">
              <a:solidFill>
                <a:srgbClr val="222222"/>
              </a:solidFill>
              <a:latin typeface="Roboto"/>
            </a:endParaRPr>
          </a:p>
          <a:p>
            <a:pPr lvl="0" algn="just"/>
            <a:endParaRPr lang="ru-RU" dirty="0">
              <a:solidFill>
                <a:srgbClr val="222222"/>
              </a:solidFill>
              <a:latin typeface="Roboto"/>
            </a:endParaRPr>
          </a:p>
          <a:p>
            <a:pPr algn="just"/>
            <a:r>
              <a:rPr lang="ru-RU" dirty="0" smtClean="0">
                <a:solidFill>
                  <a:srgbClr val="222222"/>
                </a:solidFill>
                <a:latin typeface="Roboto"/>
              </a:rPr>
              <a:t>	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Вакциносодержащая приманка «</a:t>
            </a:r>
            <a:r>
              <a:rPr lang="ru-RU" dirty="0" err="1">
                <a:solidFill>
                  <a:srgbClr val="222222"/>
                </a:solidFill>
                <a:latin typeface="Roboto"/>
              </a:rPr>
              <a:t>Рабивит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-ВБФ» выпускается в виде брикета цилиндрической формы от серого до тёмно-коричневого цвета. Он изготовлен из съедобных для плотоядных животных продуктов со специфическим запахом, который приманивает хищников. Внутри приманки находится блистер с препаратом. В основе вакцины 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штамм вируса бешенства «ERA-</a:t>
            </a:r>
            <a:r>
              <a:rPr lang="en-US" b="1" dirty="0">
                <a:solidFill>
                  <a:srgbClr val="222222"/>
                </a:solidFill>
                <a:latin typeface="Roboto"/>
              </a:rPr>
              <a:t>G333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» (США)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. Для индикации </a:t>
            </a:r>
            <a:r>
              <a:rPr lang="ru-RU" dirty="0" err="1">
                <a:solidFill>
                  <a:srgbClr val="222222"/>
                </a:solidFill>
                <a:latin typeface="Roboto"/>
              </a:rPr>
              <a:t>поедаемости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 вакцины в её состав входит биологический маркер - 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тетрациклин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68518" y="915760"/>
            <a:ext cx="1143322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dirty="0" smtClean="0">
                <a:solidFill>
                  <a:srgbClr val="222222"/>
                </a:solidFill>
                <a:latin typeface="Roboto"/>
              </a:rPr>
              <a:t>	Профилактика бешенства среди диких плотоядных животных осуществляется по полному циклу: от производства </a:t>
            </a:r>
            <a:r>
              <a:rPr lang="ru-RU" dirty="0" err="1" smtClean="0">
                <a:solidFill>
                  <a:srgbClr val="222222"/>
                </a:solidFill>
                <a:latin typeface="Roboto"/>
              </a:rPr>
              <a:t>вакциносодержащей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 антирабической приманки до проведения мероприятий по ее разбросу с использованием авиации.</a:t>
            </a:r>
            <a:endParaRPr lang="ru-RU" b="1" dirty="0">
              <a:solidFill>
                <a:srgbClr val="222222"/>
              </a:solidFill>
              <a:latin typeface="Roboto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368518" y="2079533"/>
            <a:ext cx="316195" cy="2734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Roboto"/>
              </a:rPr>
              <a:t>2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944" y="2078434"/>
            <a:ext cx="5113262" cy="340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7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E6C5F5E-A61F-480D-9F98-223CD105C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B57F4346-C82A-43EB-8E94-1C80A399FF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04586B-C073-4D26-8E50-C58B2781D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0863" y="6552573"/>
            <a:ext cx="2743200" cy="365125"/>
          </a:xfrm>
        </p:spPr>
        <p:txBody>
          <a:bodyPr/>
          <a:lstStyle/>
          <a:p>
            <a:fld id="{88E633B3-D880-4D9D-B1C0-9A9753E140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Прямоугольник с двумя усеченными противолежащими углами 16"/>
          <p:cNvSpPr/>
          <p:nvPr/>
        </p:nvSpPr>
        <p:spPr>
          <a:xfrm>
            <a:off x="192781" y="535951"/>
            <a:ext cx="4695567" cy="5538296"/>
          </a:xfrm>
          <a:prstGeom prst="snip2Diag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softEdge rad="241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 smtClean="0">
                <a:solidFill>
                  <a:srgbClr val="222222"/>
                </a:solidFill>
                <a:latin typeface="Roboto"/>
              </a:rPr>
              <a:t>	Приманки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с вакциной 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разбрасываются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на части территории Беларуси вдоль границ со странами Европейского Союза: 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Литвой, Латвией и 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Польшей. 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Площадь обработанной территории составляет около 56 тыс. км2. </a:t>
            </a:r>
          </a:p>
          <a:p>
            <a:pPr algn="just"/>
            <a:r>
              <a:rPr lang="ru-RU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В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соответствии с международными требованиями 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выброс осуществляется с использованием авиации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 и должен быть обеспечен автоматическим учётом общего количества приманок и GPS регистрацией места выброса каждой приманки. 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3" t="2392" b="2875"/>
          <a:stretch/>
        </p:blipFill>
        <p:spPr>
          <a:xfrm>
            <a:off x="5272754" y="535951"/>
            <a:ext cx="6473229" cy="5742775"/>
          </a:xfrm>
          <a:prstGeom prst="rect">
            <a:avLst/>
          </a:prstGeom>
        </p:spPr>
      </p:pic>
      <p:sp>
        <p:nvSpPr>
          <p:cNvPr id="9" name="Стрелка вниз 8"/>
          <p:cNvSpPr/>
          <p:nvPr/>
        </p:nvSpPr>
        <p:spPr>
          <a:xfrm rot="5874823">
            <a:off x="6428015" y="3979651"/>
            <a:ext cx="475623" cy="728617"/>
          </a:xfrm>
          <a:prstGeom prst="downArrow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низ 9"/>
          <p:cNvSpPr/>
          <p:nvPr/>
        </p:nvSpPr>
        <p:spPr>
          <a:xfrm rot="7419910">
            <a:off x="7503052" y="2602482"/>
            <a:ext cx="475623" cy="728617"/>
          </a:xfrm>
          <a:prstGeom prst="downArrow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трелка вниз 10"/>
          <p:cNvSpPr/>
          <p:nvPr/>
        </p:nvSpPr>
        <p:spPr>
          <a:xfrm rot="8300184">
            <a:off x="8520425" y="1243589"/>
            <a:ext cx="475623" cy="728617"/>
          </a:xfrm>
          <a:prstGeom prst="downArrow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695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4E6C5F5E-A61F-480D-9F98-223CD105C5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xmlns="" id="{B57F4346-C82A-43EB-8E94-1C80A399FF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F04586B-C073-4D26-8E50-C58B2781D4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00863" y="6552573"/>
            <a:ext cx="2743200" cy="365125"/>
          </a:xfrm>
        </p:spPr>
        <p:txBody>
          <a:bodyPr/>
          <a:lstStyle/>
          <a:p>
            <a:fld id="{88E633B3-D880-4D9D-B1C0-9A9753E140C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Прямоугольник с двумя усеченными противолежащими углами 16"/>
          <p:cNvSpPr/>
          <p:nvPr/>
        </p:nvSpPr>
        <p:spPr>
          <a:xfrm>
            <a:off x="6041877" y="224352"/>
            <a:ext cx="6074814" cy="6552573"/>
          </a:xfrm>
          <a:prstGeom prst="snip2DiagRect">
            <a:avLst/>
          </a:prstGeom>
          <a:solidFill>
            <a:schemeClr val="accent1">
              <a:lumMod val="40000"/>
              <a:lumOff val="60000"/>
            </a:schemeClr>
          </a:solidFill>
          <a:effectLst>
            <a:softEdge rad="2413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dirty="0">
                <a:solidFill>
                  <a:srgbClr val="222222"/>
                </a:solidFill>
                <a:latin typeface="Roboto"/>
              </a:rPr>
              <a:t>	</a:t>
            </a:r>
            <a:r>
              <a:rPr lang="ru-RU" b="1" dirty="0">
                <a:solidFill>
                  <a:srgbClr val="222222"/>
                </a:solidFill>
                <a:latin typeface="Roboto"/>
              </a:rPr>
              <a:t>Оральная вакцинация происходит следующим </a:t>
            </a:r>
            <a:r>
              <a:rPr lang="ru-RU" b="1" dirty="0" smtClean="0">
                <a:solidFill>
                  <a:srgbClr val="222222"/>
                </a:solidFill>
                <a:latin typeface="Roboto"/>
              </a:rPr>
              <a:t>образом: </a:t>
            </a:r>
          </a:p>
          <a:p>
            <a:pPr marL="285750" indent="-285750" algn="just">
              <a:buFontTx/>
              <a:buChar char="-"/>
            </a:pPr>
            <a:r>
              <a:rPr lang="ru-RU" dirty="0" smtClean="0">
                <a:solidFill>
                  <a:srgbClr val="222222"/>
                </a:solidFill>
                <a:latin typeface="Roboto"/>
              </a:rPr>
              <a:t>Животное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находит приманку и поедает её. </a:t>
            </a:r>
            <a:endParaRPr lang="ru-RU" dirty="0" smtClean="0">
              <a:solidFill>
                <a:srgbClr val="222222"/>
              </a:solidFill>
              <a:latin typeface="Roboto"/>
            </a:endParaRPr>
          </a:p>
          <a:p>
            <a:pPr marL="285750" indent="-285750" algn="just">
              <a:buFontTx/>
              <a:buChar char="-"/>
            </a:pPr>
            <a:r>
              <a:rPr lang="ru-RU" dirty="0" smtClean="0">
                <a:solidFill>
                  <a:srgbClr val="222222"/>
                </a:solidFill>
                <a:latin typeface="Roboto"/>
              </a:rPr>
              <a:t>При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надкусывании и пережёвывании происходит нарушение целостности блистера и вирус попадает в ротовую полость, глотку и пищевод, возможно травмирование слизистой оболочки ротовой полости, что дополнительно способствует повышению эффективности вакцинации. </a:t>
            </a:r>
            <a:endParaRPr lang="ru-RU" dirty="0" smtClean="0">
              <a:solidFill>
                <a:srgbClr val="222222"/>
              </a:solidFill>
              <a:latin typeface="Roboto"/>
            </a:endParaRPr>
          </a:p>
          <a:p>
            <a:pPr marL="285750" indent="-285750" algn="just">
              <a:buFontTx/>
              <a:buChar char="-"/>
            </a:pPr>
            <a:r>
              <a:rPr lang="ru-RU" dirty="0" smtClean="0">
                <a:solidFill>
                  <a:srgbClr val="222222"/>
                </a:solidFill>
                <a:latin typeface="Roboto"/>
              </a:rPr>
              <a:t>Из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разорванного блистера вакцина попадает </a:t>
            </a:r>
            <a:r>
              <a:rPr lang="ru-RU" dirty="0" smtClean="0">
                <a:solidFill>
                  <a:srgbClr val="222222"/>
                </a:solidFill>
                <a:latin typeface="Roboto"/>
              </a:rPr>
              <a:t>в организм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, где вирус репродуцируется, инициируя иммунный ответ. Таким образом вакцина вызывает выработку специфических антител против вируса бешенства. </a:t>
            </a:r>
            <a:endParaRPr lang="ru-RU" dirty="0" smtClean="0">
              <a:solidFill>
                <a:srgbClr val="222222"/>
              </a:solidFill>
              <a:latin typeface="Roboto"/>
            </a:endParaRPr>
          </a:p>
          <a:p>
            <a:pPr algn="just"/>
            <a:r>
              <a:rPr lang="ru-RU" dirty="0" smtClean="0">
                <a:solidFill>
                  <a:srgbClr val="222222"/>
                </a:solidFill>
                <a:latin typeface="Roboto"/>
              </a:rPr>
              <a:t>Иммунитет </a:t>
            </a:r>
            <a:r>
              <a:rPr lang="ru-RU" dirty="0">
                <a:solidFill>
                  <a:srgbClr val="222222"/>
                </a:solidFill>
                <a:latin typeface="Roboto"/>
              </a:rPr>
              <a:t>наступает через 21 день после вакцинации и сохраняется в течение года.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1075" y="224352"/>
            <a:ext cx="4867274" cy="2752528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81075" y="3826297"/>
            <a:ext cx="4867274" cy="2809953"/>
          </a:xfrm>
          <a:prstGeom prst="rect">
            <a:avLst/>
          </a:prstGeom>
        </p:spPr>
      </p:pic>
      <p:sp>
        <p:nvSpPr>
          <p:cNvPr id="7" name="Стрелка вниз 6"/>
          <p:cNvSpPr/>
          <p:nvPr/>
        </p:nvSpPr>
        <p:spPr>
          <a:xfrm>
            <a:off x="3128962" y="3153781"/>
            <a:ext cx="433388" cy="58133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0403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PvP_U6wbLLLu8QZdd9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PvP_U6wbLLLu8QZdd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PvP_U6wbLLLu8QZdd9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PvP_U6wbLLLu8QZdd9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2|2.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PvP_U6wbLLLu8QZdd9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PvP_U6wbLLLu8QZdd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PvP_U6wbLLLu8QZdd9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APvP_U6wbLLLu8QZdd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27</TotalTime>
  <Words>147</Words>
  <Application>Microsoft Office PowerPoint</Application>
  <PresentationFormat>Широкоэкранный</PresentationFormat>
  <Paragraphs>73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Arial</vt:lpstr>
      <vt:lpstr>Calibri</vt:lpstr>
      <vt:lpstr>Calibri Light</vt:lpstr>
      <vt:lpstr>Roboto</vt:lpstr>
      <vt:lpstr>Times New Roman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дминистратор</dc:creator>
  <cp:lastModifiedBy>Александр Константинович Ляховский</cp:lastModifiedBy>
  <cp:revision>373</cp:revision>
  <dcterms:created xsi:type="dcterms:W3CDTF">2022-11-24T08:05:01Z</dcterms:created>
  <dcterms:modified xsi:type="dcterms:W3CDTF">2023-09-21T09:15:58Z</dcterms:modified>
</cp:coreProperties>
</file>